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6"/>
  </p:notesMasterIdLst>
  <p:handoutMasterIdLst>
    <p:handoutMasterId r:id="rId17"/>
  </p:handoutMasterIdLst>
  <p:sldIdLst>
    <p:sldId id="256" r:id="rId5"/>
    <p:sldId id="2147376554" r:id="rId6"/>
    <p:sldId id="2147376542" r:id="rId7"/>
    <p:sldId id="2147376550" r:id="rId8"/>
    <p:sldId id="2147376551" r:id="rId9"/>
    <p:sldId id="2147376545" r:id="rId10"/>
    <p:sldId id="257" r:id="rId11"/>
    <p:sldId id="2147376546" r:id="rId12"/>
    <p:sldId id="2147376547" r:id="rId13"/>
    <p:sldId id="2147376553" r:id="rId14"/>
    <p:sldId id="2147376549" r:id="rId15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509BF1-6444-41A6-BAD3-64BB78B77254}" v="9" dt="2025-05-12T14:59:19.0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61" d="100"/>
          <a:sy n="61" d="100"/>
        </p:scale>
        <p:origin x="72" y="2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2/05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2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9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4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3.svg"/><Relationship Id="rId5" Type="http://schemas.openxmlformats.org/officeDocument/2006/relationships/tags" Target="../tags/tag22.xml"/><Relationship Id="rId10" Type="http://schemas.openxmlformats.org/officeDocument/2006/relationships/image" Target="../media/image42.png"/><Relationship Id="rId4" Type="http://schemas.openxmlformats.org/officeDocument/2006/relationships/tags" Target="../tags/tag21.xml"/><Relationship Id="rId9" Type="http://schemas.openxmlformats.org/officeDocument/2006/relationships/image" Target="../media/image41.svg"/><Relationship Id="rId14" Type="http://schemas.openxmlformats.org/officeDocument/2006/relationships/hyperlink" Target="https://www.royalmailwholesale.com/testing-and-innovation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BLACK FRIDAY INCENTIV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for Black Friday promo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ay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088D5E-F56F-8B97-C73B-6B8D60B2E8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3787542D-5C6B-4EB3-96EB-9B37C3D5D2F8}" type="slidenum">
              <a:rPr lang="en-GB" smtClean="0"/>
              <a:pPr>
                <a:spcAft>
                  <a:spcPts val="600"/>
                </a:spcAft>
              </a:pPr>
              <a:t>2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BC71C1-2743-8A35-E58F-8612E2F3F06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80112" y="1783200"/>
            <a:ext cx="5276850" cy="44799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/>
              <a:t>The primary purpose of the mailing campaign must be related to promoting products and services for Black Friday or Cyber Monday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CE4241-7114-C396-7A35-A6C41FA01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3277" y="377055"/>
            <a:ext cx="5276625" cy="1050665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GB" dirty="0"/>
              <a:t>Incentive Content guidance</a:t>
            </a:r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DF0A644-DFC4-FB6B-830B-D466925F19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83097" y="6363979"/>
            <a:ext cx="4680000" cy="133165"/>
          </a:xfrm>
        </p:spPr>
        <p:txBody>
          <a:bodyPr/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A8C484-9856-0DE3-7AFA-7185629CBB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56" y="-1147699"/>
            <a:ext cx="6085332" cy="912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83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promoting Black Frida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GB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* Letters or 50k Catalogues. The maximum volume is 1m item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incremental 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C7F2889A-C812-4C3B-055E-E68077FA9FEF}"/>
              </a:ext>
            </a:extLst>
          </p:cNvPr>
          <p:cNvSpPr txBox="1">
            <a:spLocks/>
          </p:cNvSpPr>
          <p:nvPr/>
        </p:nvSpPr>
        <p:spPr>
          <a:xfrm>
            <a:off x="800948" y="6559642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100k* Letters or 50k Catalogues. The maximum volume is 1m item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DDC5EE0-7777-4EB7-9281-D00CFB628E94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801688" y="6372225"/>
            <a:ext cx="5208587" cy="133350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241726" y="3448855"/>
            <a:ext cx="1519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/>
              <a:t>29 </a:t>
            </a:r>
            <a:r>
              <a:rPr lang="en-GB" b="1" dirty="0"/>
              <a:t>September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53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469917" y="3448855"/>
            <a:ext cx="14770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4 November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4445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5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4445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5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7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736330" y="3448855"/>
            <a:ext cx="14770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November</a:t>
            </a:r>
          </a:p>
          <a:p>
            <a:pPr algn="ctr"/>
            <a:r>
              <a:rPr lang="en-GB" b="1" dirty="0"/>
              <a:t>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950845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840558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015128" y="3429997"/>
            <a:ext cx="1519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5 September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651117" y="2760407"/>
            <a:ext cx="382054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93572" y="1640726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616320" y="2696836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8</a:t>
            </a:r>
            <a:r>
              <a:rPr lang="en-GB" baseline="30000" dirty="0"/>
              <a:t>th</a:t>
            </a:r>
            <a:r>
              <a:rPr lang="en-GB" dirty="0"/>
              <a:t> November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94</Words>
  <Application>Microsoft Office PowerPoint</Application>
  <PresentationFormat>Widescreen</PresentationFormat>
  <Paragraphs>98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entury Gothic</vt:lpstr>
      <vt:lpstr>Impact</vt:lpstr>
      <vt:lpstr>Wingdings</vt:lpstr>
      <vt:lpstr>Office Theme</vt:lpstr>
      <vt:lpstr>ROYAL MAIL BLACK FRIDAY INCENTIVE</vt:lpstr>
      <vt:lpstr>Incentive Content guidance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5-12T14:5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